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2.xml" ContentType="application/vnd.openxmlformats-officedocument.presentationml.tags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44" r:id="rId1"/>
  </p:sldMasterIdLst>
  <p:notesMasterIdLst>
    <p:notesMasterId r:id="rId13"/>
  </p:notesMasterIdLst>
  <p:sldIdLst>
    <p:sldId id="256" r:id="rId2"/>
    <p:sldId id="844" r:id="rId3"/>
    <p:sldId id="845" r:id="rId4"/>
    <p:sldId id="846" r:id="rId5"/>
    <p:sldId id="847" r:id="rId6"/>
    <p:sldId id="848" r:id="rId7"/>
    <p:sldId id="849" r:id="rId8"/>
    <p:sldId id="850" r:id="rId9"/>
    <p:sldId id="851" r:id="rId10"/>
    <p:sldId id="852" r:id="rId11"/>
    <p:sldId id="853" r:id="rId12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4660"/>
  </p:normalViewPr>
  <p:slideViewPr>
    <p:cSldViewPr snapToGrid="0">
      <p:cViewPr varScale="1">
        <p:scale>
          <a:sx n="85" d="100"/>
          <a:sy n="85" d="100"/>
        </p:scale>
        <p:origin x="590" y="7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notesMaster" Target="notesMasters/notesMaster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viewProps" Target="viewProp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IN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DD266F6-1A8F-4723-9A84-D6776F6419CC}" type="datetimeFigureOut">
              <a:rPr lang="en-IN" smtClean="0"/>
              <a:t>12-10-2019</a:t>
            </a:fld>
            <a:endParaRPr lang="en-IN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IN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IN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838C6AA-6597-4D7F-9D68-1B2DDABC2D4C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78294479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DE2E8FF-3D0C-9D4D-B4D1-3089215958A5}" type="slidenum">
              <a:rPr lang="en-US" smtClean="0"/>
              <a:pPr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2394006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DE2E8FF-3D0C-9D4D-B4D1-3089215958A5}" type="slidenum">
              <a:rPr lang="en-US" smtClean="0"/>
              <a:pPr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8783671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DE2E8FF-3D0C-9D4D-B4D1-3089215958A5}" type="slidenum">
              <a:rPr lang="en-US" smtClean="0"/>
              <a:pPr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2520087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381000"/>
            <a:ext cx="4572000" cy="257333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BFEAE42-E3FE-4405-B7FC-4425D05B92A0}" type="slidenum">
              <a:rPr lang="en-US" smtClean="0"/>
              <a:pPr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2594522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381000"/>
            <a:ext cx="4572000" cy="257333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BFEAE42-E3FE-4405-B7FC-4425D05B92A0}" type="slidenum">
              <a:rPr lang="en-US" smtClean="0"/>
              <a:pPr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1116262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381000"/>
            <a:ext cx="4572000" cy="257333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BFEAE42-E3FE-4405-B7FC-4425D05B92A0}" type="slidenum">
              <a:rPr lang="en-US" smtClean="0"/>
              <a:pPr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4048796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381000"/>
            <a:ext cx="4572000" cy="257333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BFEAE42-E3FE-4405-B7FC-4425D05B92A0}" type="slidenum">
              <a:rPr lang="en-US" smtClean="0"/>
              <a:pPr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8725973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381000"/>
            <a:ext cx="4572000" cy="257333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BFEAE42-E3FE-4405-B7FC-4425D05B92A0}" type="slidenum">
              <a:rPr lang="en-US" smtClean="0"/>
              <a:pPr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5682704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446534" y="3085764"/>
            <a:ext cx="11298932" cy="3338149"/>
          </a:xfrm>
          <a:prstGeom prst="rect">
            <a:avLst/>
          </a:prstGeom>
          <a:solidFill>
            <a:srgbClr val="46535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81191" y="1020431"/>
            <a:ext cx="10993549" cy="1475013"/>
          </a:xfrm>
          <a:effectLst/>
        </p:spPr>
        <p:txBody>
          <a:bodyPr anchor="b">
            <a:normAutofit/>
          </a:bodyPr>
          <a:lstStyle>
            <a:lvl1pPr>
              <a:defRPr sz="36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81194" y="2495445"/>
            <a:ext cx="10993546" cy="590321"/>
          </a:xfrm>
        </p:spPr>
        <p:txBody>
          <a:bodyPr anchor="t">
            <a:normAutofit/>
          </a:bodyPr>
          <a:lstStyle>
            <a:lvl1pPr marL="0" indent="0" algn="l">
              <a:buNone/>
              <a:defRPr sz="1600" cap="all">
                <a:solidFill>
                  <a:schemeClr val="accent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7FA0ACE7-29A8-47D3-A7D9-257B711D802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D291B17-9318-49DB-B28B-6E5994AE9581}" type="datetime1">
              <a:rPr lang="en-US" smtClean="0"/>
              <a:t>10/12/2019</a:t>
            </a:fld>
            <a:endParaRPr lang="en-US" dirty="0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DEC604B9-52E9-4810-8359-47206518D03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5898A89F-CA25-400F-B05A-AECBF2517E4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98EE3D-8CD1-4C3F-BD1C-C98C9596463C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2294285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ti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00485236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71500" y="431270"/>
            <a:ext cx="11049000" cy="762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71500" y="1320270"/>
            <a:ext cx="11049000" cy="4572000"/>
          </a:xfrm>
        </p:spPr>
        <p:txBody>
          <a:bodyPr numCol="2" spcCol="457200">
            <a:normAutofit/>
          </a:bodyPr>
          <a:lstStyle>
            <a:lvl1pPr marL="380985" indent="-380985">
              <a:spcBef>
                <a:spcPts val="750"/>
              </a:spcBef>
              <a:buFont typeface="+mj-lt"/>
              <a:buAutoNum type="arabicPeriod"/>
              <a:tabLst>
                <a:tab pos="5280872" algn="r"/>
              </a:tabLst>
              <a:defRPr sz="1667"/>
            </a:lvl1pPr>
            <a:lvl2pPr marL="571477" indent="-190492">
              <a:spcBef>
                <a:spcPts val="500"/>
              </a:spcBef>
              <a:buFont typeface="Arial" pitchFamily="34" charset="0"/>
              <a:buChar char="–"/>
              <a:tabLst>
                <a:tab pos="5280872" algn="r"/>
              </a:tabLst>
              <a:defRPr sz="1667"/>
            </a:lvl2pPr>
            <a:lvl3pPr marL="761970" indent="-190492">
              <a:spcBef>
                <a:spcPts val="500"/>
              </a:spcBef>
              <a:buFont typeface="Arial" pitchFamily="34" charset="0"/>
              <a:buChar char="–"/>
              <a:tabLst>
                <a:tab pos="5280872" algn="r"/>
              </a:tabLst>
              <a:defRPr sz="1667"/>
            </a:lvl3pPr>
            <a:lvl4pPr marL="952462" indent="-190492">
              <a:spcBef>
                <a:spcPts val="500"/>
              </a:spcBef>
              <a:buFont typeface="Arial" pitchFamily="34" charset="0"/>
              <a:buChar char="–"/>
              <a:tabLst>
                <a:tab pos="5280872" algn="r"/>
              </a:tabLst>
              <a:defRPr sz="1667"/>
            </a:lvl4pPr>
            <a:lvl5pPr marL="1142954" indent="-190492">
              <a:spcBef>
                <a:spcPts val="500"/>
              </a:spcBef>
              <a:buFont typeface="Arial" pitchFamily="34" charset="0"/>
              <a:buChar char="–"/>
              <a:tabLst>
                <a:tab pos="5280872" algn="r"/>
              </a:tabLst>
              <a:defRPr sz="1667"/>
            </a:lvl5pPr>
            <a:lvl6pPr marL="1333447" indent="-190492">
              <a:spcBef>
                <a:spcPts val="500"/>
              </a:spcBef>
              <a:buFont typeface="Arial" pitchFamily="34" charset="0"/>
              <a:buChar char="–"/>
              <a:tabLst>
                <a:tab pos="5280872" algn="r"/>
              </a:tabLst>
              <a:defRPr sz="1667" baseline="0"/>
            </a:lvl6pPr>
            <a:lvl7pPr marL="1523939" indent="-190492">
              <a:spcBef>
                <a:spcPts val="500"/>
              </a:spcBef>
              <a:buFont typeface="Arial" pitchFamily="34" charset="0"/>
              <a:buChar char="–"/>
              <a:tabLst>
                <a:tab pos="5280872" algn="r"/>
              </a:tabLst>
              <a:defRPr sz="1667" baseline="0"/>
            </a:lvl7pPr>
            <a:lvl8pPr marL="1714431" indent="-190492">
              <a:spcBef>
                <a:spcPts val="500"/>
              </a:spcBef>
              <a:buFont typeface="Arial" pitchFamily="34" charset="0"/>
              <a:buChar char="–"/>
              <a:tabLst>
                <a:tab pos="5280872" algn="r"/>
              </a:tabLst>
              <a:defRPr sz="1667" baseline="0"/>
            </a:lvl8pPr>
            <a:lvl9pPr marL="1904924" indent="-190492">
              <a:spcBef>
                <a:spcPts val="500"/>
              </a:spcBef>
              <a:buFont typeface="Arial" pitchFamily="34" charset="0"/>
              <a:buChar char="–"/>
              <a:tabLst>
                <a:tab pos="5280872" algn="r"/>
              </a:tabLst>
              <a:defRPr sz="1667" baseline="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9614768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>
          <a:xfrm>
            <a:off x="609443" y="521208"/>
            <a:ext cx="10969943" cy="411480"/>
          </a:xfrm>
        </p:spPr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r>
              <a:rPr dirty="0"/>
              <a:t>Click to add one-line title</a:t>
            </a:r>
          </a:p>
        </p:txBody>
      </p:sp>
      <p:sp>
        <p:nvSpPr>
          <p:cNvPr id="7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09443" y="934240"/>
            <a:ext cx="10969943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800" baseline="0">
                <a:latin typeface="MetricHPE" panose="020B05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1800"/>
            </a:lvl2pPr>
            <a:lvl3pPr marL="0" indent="0">
              <a:spcBef>
                <a:spcPts val="0"/>
              </a:spcBef>
              <a:buNone/>
              <a:defRPr sz="1800"/>
            </a:lvl3pPr>
            <a:lvl4pPr marL="0" indent="0">
              <a:spcBef>
                <a:spcPts val="0"/>
              </a:spcBef>
              <a:buNone/>
              <a:defRPr sz="1800"/>
            </a:lvl4pPr>
            <a:lvl5pPr marL="0" indent="0">
              <a:spcBef>
                <a:spcPts val="0"/>
              </a:spcBef>
              <a:buNone/>
              <a:defRPr sz="1800"/>
            </a:lvl5pPr>
            <a:lvl6pPr marL="0" indent="0">
              <a:spcBef>
                <a:spcPts val="0"/>
              </a:spcBef>
              <a:buNone/>
              <a:defRPr sz="1800"/>
            </a:lvl6pPr>
            <a:lvl7pPr marL="0" indent="0">
              <a:spcBef>
                <a:spcPts val="0"/>
              </a:spcBef>
              <a:buNone/>
              <a:defRPr sz="1800"/>
            </a:lvl7pPr>
            <a:lvl8pPr marL="0" indent="0">
              <a:spcBef>
                <a:spcPts val="0"/>
              </a:spcBef>
              <a:buNone/>
              <a:defRPr sz="1800"/>
            </a:lvl8pPr>
            <a:lvl9pPr marL="0" indent="0">
              <a:spcBef>
                <a:spcPts val="0"/>
              </a:spcBef>
              <a:buNone/>
              <a:defRPr sz="1800"/>
            </a:lvl9pPr>
          </a:lstStyle>
          <a:p>
            <a:pPr lvl="0"/>
            <a:r>
              <a:rPr dirty="0"/>
              <a:t>Click to add one-line subtit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5598213" y="6426104"/>
            <a:ext cx="995578" cy="210312"/>
          </a:xfrm>
          <a:prstGeom prst="rect">
            <a:avLst/>
          </a:prstGeom>
        </p:spPr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fld id="{684E3265-88A3-4C30-AE11-BFDF645909E9}" type="datetime4">
              <a:rPr lang="en-US" smtClean="0"/>
              <a:pPr/>
              <a:t>October 12, 20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6934201" y="6426104"/>
            <a:ext cx="4025198" cy="210312"/>
          </a:xfrm>
          <a:prstGeom prst="rect">
            <a:avLst/>
          </a:prstGeom>
        </p:spPr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r>
              <a:rPr lang="en-US" dirty="0"/>
              <a:t>Private | Confidential | Internal Use Only 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11049003" y="6430870"/>
            <a:ext cx="533398" cy="232147"/>
          </a:xfrm>
          <a:prstGeom prst="rect">
            <a:avLst/>
          </a:prstGeom>
        </p:spPr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fld id="{B016F8AB-BCEA-4347-8BA6-BE776009BC89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057126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81192" y="705124"/>
            <a:ext cx="11029616" cy="1189554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81192" y="2336002"/>
            <a:ext cx="11029616" cy="3652047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7605951" y="6423914"/>
            <a:ext cx="284479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ED291B17-9318-49DB-B28B-6E5994AE9581}" type="datetime1">
              <a:rPr lang="en-US" smtClean="0"/>
              <a:t>10/12/20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81192" y="6423914"/>
            <a:ext cx="691721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 cap="all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558300" y="6423914"/>
            <a:ext cx="105251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3A98EE3D-8CD1-4C3F-BD1C-C98C9596463C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9" name="Rectangle 8"/>
          <p:cNvSpPr/>
          <p:nvPr/>
        </p:nvSpPr>
        <p:spPr>
          <a:xfrm>
            <a:off x="446534" y="457200"/>
            <a:ext cx="3703320" cy="94997"/>
          </a:xfrm>
          <a:prstGeom prst="rect">
            <a:avLst/>
          </a:prstGeom>
          <a:solidFill>
            <a:srgbClr val="46535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10" name="Rectangle 9"/>
          <p:cNvSpPr/>
          <p:nvPr/>
        </p:nvSpPr>
        <p:spPr>
          <a:xfrm>
            <a:off x="8042147" y="453643"/>
            <a:ext cx="3703320" cy="98554"/>
          </a:xfrm>
          <a:prstGeom prst="rect">
            <a:avLst/>
          </a:prstGeom>
          <a:solidFill>
            <a:srgbClr val="969FA7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11" name="Rectangle 10"/>
          <p:cNvSpPr/>
          <p:nvPr/>
        </p:nvSpPr>
        <p:spPr>
          <a:xfrm>
            <a:off x="4241830" y="457200"/>
            <a:ext cx="3703320" cy="9144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</p:spTree>
    <p:extLst>
      <p:ext uri="{BB962C8B-B14F-4D97-AF65-F5344CB8AC3E}">
        <p14:creationId xmlns:p14="http://schemas.microsoft.com/office/powerpoint/2010/main" val="190246472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9" r:id="rId1"/>
    <p:sldLayoutId id="2147483745" r:id="rId2"/>
    <p:sldLayoutId id="2147483746" r:id="rId3"/>
    <p:sldLayoutId id="2147483747" r:id="rId4"/>
  </p:sldLayoutIdLst>
  <p:hf sldNum="0" hdr="0" ftr="0" dt="0"/>
  <p:txStyles>
    <p:titleStyle>
      <a:lvl1pPr algn="l" defTabSz="457200" rtl="0" eaLnBrk="1" latinLnBrk="0" hangingPunct="1">
        <a:lnSpc>
          <a:spcPct val="100000"/>
        </a:lnSpc>
        <a:spcBef>
          <a:spcPct val="0"/>
        </a:spcBef>
        <a:buNone/>
        <a:defRPr sz="2800" b="0" kern="1200" cap="all">
          <a:solidFill>
            <a:schemeClr val="tx1">
              <a:lumMod val="75000"/>
              <a:lumOff val="25000"/>
            </a:schemeClr>
          </a:solidFill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306000" indent="-306000" algn="l" defTabSz="457200" rtl="0" eaLnBrk="1" latinLnBrk="0" hangingPunct="1">
        <a:lnSpc>
          <a:spcPct val="110000"/>
        </a:lnSpc>
        <a:spcBef>
          <a:spcPct val="20000"/>
        </a:spcBef>
        <a:spcAft>
          <a:spcPts val="600"/>
        </a:spcAft>
        <a:buClr>
          <a:schemeClr val="accent1"/>
        </a:buClr>
        <a:buSzPct val="92000"/>
        <a:buFont typeface="Wingdings 2" panose="05020102010507070707" pitchFamily="18" charset="2"/>
        <a:buChar char=""/>
        <a:defRPr sz="17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  <a:lvl2pPr marL="630000" indent="-306000" algn="l" defTabSz="457200" rtl="0" eaLnBrk="1" latinLnBrk="0" hangingPunct="1">
        <a:spcBef>
          <a:spcPct val="20000"/>
        </a:spcBef>
        <a:spcAft>
          <a:spcPts val="600"/>
        </a:spcAft>
        <a:buClr>
          <a:schemeClr val="accent1"/>
        </a:buClr>
        <a:buSzPct val="92000"/>
        <a:buFont typeface="Wingdings 2" panose="05020102010507070707" pitchFamily="18" charset="2"/>
        <a:buChar char="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2pPr>
      <a:lvl3pPr marL="900000" indent="-270000" algn="l" defTabSz="457200" rtl="0" eaLnBrk="1" latinLnBrk="0" hangingPunct="1">
        <a:spcBef>
          <a:spcPct val="20000"/>
        </a:spcBef>
        <a:spcAft>
          <a:spcPts val="600"/>
        </a:spcAft>
        <a:buClr>
          <a:schemeClr val="accent1"/>
        </a:buClr>
        <a:buSzPct val="92000"/>
        <a:buFont typeface="Wingdings 2" panose="05020102010507070707" pitchFamily="18" charset="2"/>
        <a:buChar char=""/>
        <a:defRPr sz="13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3pPr>
      <a:lvl4pPr marL="1242000" indent="-234000" algn="l" defTabSz="457200" rtl="0" eaLnBrk="1" latinLnBrk="0" hangingPunct="1">
        <a:spcBef>
          <a:spcPct val="20000"/>
        </a:spcBef>
        <a:spcAft>
          <a:spcPts val="600"/>
        </a:spcAft>
        <a:buClr>
          <a:schemeClr val="accent1"/>
        </a:buClr>
        <a:buSzPct val="92000"/>
        <a:buFont typeface="Wingdings 2" panose="05020102010507070707" pitchFamily="18" charset="2"/>
        <a:buChar char=""/>
        <a:defRPr sz="11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4pPr>
      <a:lvl5pPr marL="1602000" indent="-234000" algn="l" defTabSz="457200" rtl="0" eaLnBrk="1" latinLnBrk="0" hangingPunct="1">
        <a:spcBef>
          <a:spcPct val="20000"/>
        </a:spcBef>
        <a:spcAft>
          <a:spcPts val="600"/>
        </a:spcAft>
        <a:buClr>
          <a:schemeClr val="accent1"/>
        </a:buClr>
        <a:buSzPct val="92000"/>
        <a:buFont typeface="Wingdings 2" panose="05020102010507070707" pitchFamily="18" charset="2"/>
        <a:buChar char=""/>
        <a:defRPr sz="11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5pPr>
      <a:lvl6pPr marL="1900000" indent="-228600" algn="l" defTabSz="457200" rtl="0" eaLnBrk="1" latinLnBrk="0" hangingPunct="1">
        <a:spcBef>
          <a:spcPct val="20000"/>
        </a:spcBef>
        <a:spcAft>
          <a:spcPts val="600"/>
        </a:spcAft>
        <a:buClr>
          <a:schemeClr val="accent2"/>
        </a:buClr>
        <a:buSzPct val="92000"/>
        <a:buFont typeface="Wingdings 2" panose="05020102010507070707" pitchFamily="18" charset="2"/>
        <a:buChar char=""/>
        <a:defRPr sz="1200" kern="1200">
          <a:solidFill>
            <a:schemeClr val="tx2"/>
          </a:solidFill>
          <a:latin typeface="+mn-lt"/>
          <a:ea typeface="+mn-ea"/>
          <a:cs typeface="+mn-cs"/>
        </a:defRPr>
      </a:lvl6pPr>
      <a:lvl7pPr marL="2200000" indent="-228600" algn="l" defTabSz="457200" rtl="0" eaLnBrk="1" latinLnBrk="0" hangingPunct="1">
        <a:spcBef>
          <a:spcPct val="20000"/>
        </a:spcBef>
        <a:spcAft>
          <a:spcPts val="600"/>
        </a:spcAft>
        <a:buClr>
          <a:schemeClr val="accent2"/>
        </a:buClr>
        <a:buSzPct val="92000"/>
        <a:buFont typeface="Wingdings 2" panose="05020102010507070707" pitchFamily="18" charset="2"/>
        <a:buChar char=""/>
        <a:defRPr sz="1200" kern="1200">
          <a:solidFill>
            <a:schemeClr val="tx2"/>
          </a:solidFill>
          <a:latin typeface="+mn-lt"/>
          <a:ea typeface="+mn-ea"/>
          <a:cs typeface="+mn-cs"/>
        </a:defRPr>
      </a:lvl7pPr>
      <a:lvl8pPr marL="2500000" indent="-228600" algn="l" defTabSz="457200" rtl="0" eaLnBrk="1" latinLnBrk="0" hangingPunct="1">
        <a:spcBef>
          <a:spcPct val="20000"/>
        </a:spcBef>
        <a:spcAft>
          <a:spcPts val="600"/>
        </a:spcAft>
        <a:buClr>
          <a:schemeClr val="accent2"/>
        </a:buClr>
        <a:buSzPct val="92000"/>
        <a:buFont typeface="Wingdings 2" panose="05020102010507070707" pitchFamily="18" charset="2"/>
        <a:buChar char=""/>
        <a:defRPr sz="1200" kern="1200">
          <a:solidFill>
            <a:schemeClr val="tx2"/>
          </a:solidFill>
          <a:latin typeface="+mn-lt"/>
          <a:ea typeface="+mn-ea"/>
          <a:cs typeface="+mn-cs"/>
        </a:defRPr>
      </a:lvl8pPr>
      <a:lvl9pPr marL="2800000" indent="-228600" algn="l" defTabSz="457200" rtl="0" eaLnBrk="1" latinLnBrk="0" hangingPunct="1">
        <a:spcBef>
          <a:spcPct val="20000"/>
        </a:spcBef>
        <a:spcAft>
          <a:spcPts val="600"/>
        </a:spcAft>
        <a:buClr>
          <a:schemeClr val="accent2"/>
        </a:buClr>
        <a:buSzPct val="92000"/>
        <a:buFont typeface="Wingdings 2" panose="05020102010507070707" pitchFamily="18" charset="2"/>
        <a:buChar char=""/>
        <a:defRPr sz="12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16.png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1.bin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11.png"/><Relationship Id="rId5" Type="http://schemas.openxmlformats.org/officeDocument/2006/relationships/image" Target="../media/image10.png"/><Relationship Id="rId4" Type="http://schemas.openxmlformats.org/officeDocument/2006/relationships/image" Target="../media/image9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24" name="Rectangle 16">
            <a:extLst>
              <a:ext uri="{FF2B5EF4-FFF2-40B4-BE49-F238E27FC236}">
                <a16:creationId xmlns:a16="http://schemas.microsoft.com/office/drawing/2014/main" id="{C946306D-5ADD-463A-949A-DEEBA39D70D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6" name="Rectangle 18">
            <a:extLst>
              <a:ext uri="{FF2B5EF4-FFF2-40B4-BE49-F238E27FC236}">
                <a16:creationId xmlns:a16="http://schemas.microsoft.com/office/drawing/2014/main" id="{A473A035-1F9A-4381-AC96-683CD2DF5DE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46534" y="455422"/>
            <a:ext cx="3703320" cy="94997"/>
          </a:xfrm>
          <a:prstGeom prst="rect">
            <a:avLst/>
          </a:prstGeom>
          <a:solidFill>
            <a:srgbClr val="46535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27" name="Rectangle 20">
            <a:extLst>
              <a:ext uri="{FF2B5EF4-FFF2-40B4-BE49-F238E27FC236}">
                <a16:creationId xmlns:a16="http://schemas.microsoft.com/office/drawing/2014/main" id="{CF4ED641-0671-4D88-92E6-026A8C9F1A4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244341" y="457200"/>
            <a:ext cx="3703320" cy="9144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7A02EF2F-E7B1-40FC-885B-C4D89902B6E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8042147" y="453643"/>
            <a:ext cx="3703320" cy="98554"/>
          </a:xfrm>
          <a:prstGeom prst="rect">
            <a:avLst/>
          </a:prstGeom>
          <a:solidFill>
            <a:srgbClr val="969FA7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pic>
        <p:nvPicPr>
          <p:cNvPr id="3" name="Picture 2" descr="A picture containing animal&#10;&#10;Description automatically generated">
            <a:extLst>
              <a:ext uri="{FF2B5EF4-FFF2-40B4-BE49-F238E27FC236}">
                <a16:creationId xmlns:a16="http://schemas.microsoft.com/office/drawing/2014/main" id="{0D157C44-7D9E-4216-A274-6E3D17BB9C84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17433" r="-1" b="26562"/>
          <a:stretch/>
        </p:blipFill>
        <p:spPr>
          <a:xfrm>
            <a:off x="446532" y="599725"/>
            <a:ext cx="11292143" cy="3557252"/>
          </a:xfrm>
          <a:prstGeom prst="rect">
            <a:avLst/>
          </a:prstGeom>
        </p:spPr>
      </p:pic>
      <p:sp>
        <p:nvSpPr>
          <p:cNvPr id="25" name="Rectangle 24">
            <a:extLst>
              <a:ext uri="{FF2B5EF4-FFF2-40B4-BE49-F238E27FC236}">
                <a16:creationId xmlns:a16="http://schemas.microsoft.com/office/drawing/2014/main" id="{9180D5DB-9658-40A6-A418-7C69982226F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46533" y="4199467"/>
            <a:ext cx="11296733" cy="2191098"/>
          </a:xfrm>
          <a:prstGeom prst="rect">
            <a:avLst/>
          </a:prstGeom>
          <a:solidFill>
            <a:srgbClr val="46535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35552A2-24E6-40D1-B75D-01789F653EE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27120" y="4319752"/>
            <a:ext cx="10947620" cy="1155959"/>
          </a:xfrm>
        </p:spPr>
        <p:txBody>
          <a:bodyPr>
            <a:normAutofit/>
          </a:bodyPr>
          <a:lstStyle/>
          <a:p>
            <a:r>
              <a:rPr lang="en-US">
                <a:solidFill>
                  <a:srgbClr val="FFFFFF"/>
                </a:solidFill>
              </a:rPr>
              <a:t>Linear Regression Model  Deep Dive</a:t>
            </a:r>
            <a:endParaRPr lang="en-IN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2026471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0808" y="442808"/>
            <a:ext cx="10969943" cy="411480"/>
          </a:xfrm>
        </p:spPr>
        <p:txBody>
          <a:bodyPr>
            <a:normAutofit fontScale="90000"/>
          </a:bodyPr>
          <a:lstStyle/>
          <a:p>
            <a:r>
              <a:rPr lang="en-US" dirty="0"/>
              <a:t>Linear Regression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7964541" y="944693"/>
            <a:ext cx="2089489" cy="381000"/>
          </a:xfrm>
        </p:spPr>
        <p:txBody>
          <a:bodyPr/>
          <a:lstStyle/>
          <a:p>
            <a:pPr algn="ctr"/>
            <a:r>
              <a:rPr lang="en-US" b="1" dirty="0"/>
              <a:t>Diagnostics Plot</a:t>
            </a:r>
            <a:endParaRPr lang="en-GB" b="1" dirty="0"/>
          </a:p>
        </p:txBody>
      </p:sp>
      <p:sp>
        <p:nvSpPr>
          <p:cNvPr id="44" name="Text Placeholder 2"/>
          <p:cNvSpPr txBox="1">
            <a:spLocks/>
          </p:cNvSpPr>
          <p:nvPr/>
        </p:nvSpPr>
        <p:spPr>
          <a:xfrm>
            <a:off x="1158938" y="944693"/>
            <a:ext cx="2865104" cy="381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1463040" rtl="0" eaLnBrk="1" latinLnBrk="0" hangingPunct="1">
              <a:spcBef>
                <a:spcPts val="0"/>
              </a:spcBef>
              <a:buFontTx/>
              <a:buNone/>
              <a:defRPr sz="2160" b="1" kern="1200" baseline="0">
                <a:solidFill>
                  <a:schemeClr val="tx1"/>
                </a:solidFill>
                <a:latin typeface="MetricHPE" panose="020B0503030202060203" pitchFamily="34" charset="0"/>
                <a:ea typeface="+mn-ea"/>
                <a:cs typeface="+mn-cs"/>
              </a:defRPr>
            </a:lvl1pPr>
            <a:lvl2pPr marL="0" indent="0" algn="l" defTabSz="1463040" rtl="0" eaLnBrk="1" latinLnBrk="0" hangingPunct="1">
              <a:spcBef>
                <a:spcPts val="0"/>
              </a:spcBef>
              <a:buFontTx/>
              <a:buNone/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1463040" rtl="0" eaLnBrk="1" latinLnBrk="0" hangingPunct="1">
              <a:spcBef>
                <a:spcPts val="0"/>
              </a:spcBef>
              <a:buFont typeface="Arial" pitchFamily="34" charset="0"/>
              <a:buNone/>
              <a:tabLst/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1463040" rtl="0" eaLnBrk="1" latinLnBrk="0" hangingPunct="1">
              <a:spcBef>
                <a:spcPts val="0"/>
              </a:spcBef>
              <a:buFont typeface="Arial" pitchFamily="34" charset="0"/>
              <a:buNone/>
              <a:tabLst/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1463040" rtl="0" eaLnBrk="1" latinLnBrk="0" hangingPunct="1">
              <a:spcBef>
                <a:spcPts val="0"/>
              </a:spcBef>
              <a:buFont typeface="Arial" pitchFamily="34" charset="0"/>
              <a:buNone/>
              <a:tabLst/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1463040" rtl="0" eaLnBrk="1" latinLnBrk="0" hangingPunct="1">
              <a:spcBef>
                <a:spcPts val="0"/>
              </a:spcBef>
              <a:buFont typeface="Arial" pitchFamily="34" charset="0"/>
              <a:buNone/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1463040" rtl="0" eaLnBrk="1" latinLnBrk="0" hangingPunct="1">
              <a:spcBef>
                <a:spcPts val="0"/>
              </a:spcBef>
              <a:buFont typeface="Arial" pitchFamily="34" charset="0"/>
              <a:buNone/>
              <a:tabLst/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1463040" rtl="0" eaLnBrk="1" latinLnBrk="0" hangingPunct="1">
              <a:spcBef>
                <a:spcPts val="0"/>
              </a:spcBef>
              <a:buFont typeface="Arial" pitchFamily="34" charset="0"/>
              <a:buNone/>
              <a:defRPr sz="216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1463040" rtl="0" eaLnBrk="1" latinLnBrk="0" hangingPunct="1">
              <a:spcBef>
                <a:spcPts val="0"/>
              </a:spcBef>
              <a:buFont typeface="Arial" pitchFamily="34" charset="0"/>
              <a:buNone/>
              <a:tabLst/>
              <a:defRPr sz="216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800" dirty="0"/>
              <a:t>Residual Analysis</a:t>
            </a:r>
            <a:endParaRPr lang="en-GB" sz="1800" dirty="0"/>
          </a:p>
        </p:txBody>
      </p:sp>
      <p:sp>
        <p:nvSpPr>
          <p:cNvPr id="5" name="Rectangle 4"/>
          <p:cNvSpPr/>
          <p:nvPr/>
        </p:nvSpPr>
        <p:spPr>
          <a:xfrm>
            <a:off x="223781" y="1263673"/>
            <a:ext cx="5468565" cy="111793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333" dirty="0"/>
              <a:t>The Top-Left Plot is the "Plot of Residuals against the Fitted Values"</a:t>
            </a:r>
          </a:p>
          <a:p>
            <a:r>
              <a:rPr lang="en-US" sz="1333" dirty="0"/>
              <a:t>Bottom-Left has the "Standardized Residuals in the Y-Axis"</a:t>
            </a:r>
          </a:p>
          <a:p>
            <a:r>
              <a:rPr lang="en-US" sz="1333" dirty="0"/>
              <a:t>If the "error variance increases with fitted values", that condition is called "</a:t>
            </a:r>
            <a:r>
              <a:rPr lang="en-US" sz="1333" dirty="0" err="1"/>
              <a:t>Heteroskedacity</a:t>
            </a:r>
            <a:r>
              <a:rPr lang="en-US" sz="1333" dirty="0"/>
              <a:t>". (This condition should be avoided to ensure that the model does not behave unpredictably, especially for new data)</a:t>
            </a:r>
          </a:p>
        </p:txBody>
      </p:sp>
      <p:sp>
        <p:nvSpPr>
          <p:cNvPr id="7" name="Rectangle 6"/>
          <p:cNvSpPr/>
          <p:nvPr/>
        </p:nvSpPr>
        <p:spPr>
          <a:xfrm>
            <a:off x="5875779" y="1288048"/>
            <a:ext cx="6096000" cy="912814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US" sz="1333" dirty="0"/>
              <a:t>Leverage is a measure of "how much each data point" "influences the regression". Cook's distance shows how much the "fitted values" would change if an Observation is removed. Points that are more than 4 times the mean are considered as "Influential or Extreme Points"</a:t>
            </a:r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62402" y="2366539"/>
            <a:ext cx="5191323" cy="3615161"/>
          </a:xfrm>
          <a:prstGeom prst="rect">
            <a:avLst/>
          </a:prstGeom>
          <a:ln w="28575">
            <a:solidFill>
              <a:schemeClr val="tx1"/>
            </a:solidFill>
          </a:ln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725952" y="2366539"/>
            <a:ext cx="6161248" cy="3615160"/>
          </a:xfrm>
          <a:prstGeom prst="rect">
            <a:avLst/>
          </a:prstGeom>
          <a:ln w="28575">
            <a:solidFill>
              <a:schemeClr val="tx1"/>
            </a:solidFill>
          </a:ln>
        </p:spPr>
      </p:pic>
    </p:spTree>
    <p:extLst>
      <p:ext uri="{BB962C8B-B14F-4D97-AF65-F5344CB8AC3E}">
        <p14:creationId xmlns:p14="http://schemas.microsoft.com/office/powerpoint/2010/main" val="32850624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1277" y="521208"/>
            <a:ext cx="10969943" cy="411480"/>
          </a:xfrm>
        </p:spPr>
        <p:txBody>
          <a:bodyPr>
            <a:normAutofit fontScale="90000"/>
          </a:bodyPr>
          <a:lstStyle/>
          <a:p>
            <a:r>
              <a:rPr lang="en-US" dirty="0"/>
              <a:t>Analytics Insights / Results (Sample)</a:t>
            </a:r>
          </a:p>
        </p:txBody>
      </p:sp>
      <p:sp>
        <p:nvSpPr>
          <p:cNvPr id="18" name="Rectangle 17"/>
          <p:cNvSpPr/>
          <p:nvPr/>
        </p:nvSpPr>
        <p:spPr>
          <a:xfrm>
            <a:off x="1524000" y="1953986"/>
            <a:ext cx="9220200" cy="2914324"/>
          </a:xfrm>
          <a:prstGeom prst="rect">
            <a:avLst/>
          </a:prstGeom>
          <a:ln w="28575">
            <a:solidFill>
              <a:schemeClr val="tx1"/>
            </a:solidFill>
          </a:ln>
        </p:spPr>
        <p:txBody>
          <a:bodyPr wrap="square">
            <a:spAutoFit/>
          </a:bodyPr>
          <a:lstStyle/>
          <a:p>
            <a:pPr marL="285739" indent="-285739">
              <a:buFont typeface="Arial" panose="020B0604020202020204" pitchFamily="34" charset="0"/>
              <a:buChar char="•"/>
            </a:pPr>
            <a:r>
              <a:rPr lang="en-US" sz="1667" dirty="0"/>
              <a:t>A multiple linear regression is originally modeled using several numerical and nominal features such as age, sex, number of children, </a:t>
            </a:r>
            <a:r>
              <a:rPr lang="en-US" sz="1667" dirty="0" err="1"/>
              <a:t>bmi</a:t>
            </a:r>
            <a:r>
              <a:rPr lang="en-US" sz="1667" dirty="0"/>
              <a:t> and regions. </a:t>
            </a:r>
          </a:p>
          <a:p>
            <a:pPr marL="285739" indent="-285739">
              <a:buFont typeface="Arial" panose="020B0604020202020204" pitchFamily="34" charset="0"/>
              <a:buChar char="•"/>
            </a:pPr>
            <a:endParaRPr lang="en-US" sz="1667" dirty="0"/>
          </a:p>
          <a:p>
            <a:pPr marL="285739" indent="-285739">
              <a:buFont typeface="Arial" panose="020B0604020202020204" pitchFamily="34" charset="0"/>
              <a:buChar char="•"/>
            </a:pPr>
            <a:r>
              <a:rPr lang="en-US" sz="1667" dirty="0"/>
              <a:t>The model performance can be evaluate by looking at the model statistics such as residuals range, estimated on coefficients on the regression, overall model and individual feature p-values, and R-square</a:t>
            </a:r>
          </a:p>
          <a:p>
            <a:pPr marL="285739" indent="-285739">
              <a:buFont typeface="Arial" panose="020B0604020202020204" pitchFamily="34" charset="0"/>
              <a:buChar char="•"/>
            </a:pPr>
            <a:endParaRPr lang="en-US" sz="1667" b="1" dirty="0"/>
          </a:p>
          <a:p>
            <a:pPr marL="285739" indent="-285739">
              <a:buFont typeface="Arial" panose="020B0604020202020204" pitchFamily="34" charset="0"/>
              <a:buChar char="•"/>
            </a:pPr>
            <a:r>
              <a:rPr lang="en-US" sz="1667" dirty="0"/>
              <a:t>In other words, medical expenses of individuals has a </a:t>
            </a:r>
            <a:r>
              <a:rPr lang="en-US" sz="1667" b="1" dirty="0"/>
              <a:t>positive linear relationship with the </a:t>
            </a:r>
            <a:r>
              <a:rPr lang="en-US" sz="1667" dirty="0"/>
              <a:t>predictors</a:t>
            </a:r>
            <a:r>
              <a:rPr lang="en-US" sz="1667" b="1" dirty="0"/>
              <a:t>, age, sex, number of children, </a:t>
            </a:r>
            <a:r>
              <a:rPr lang="en-US" sz="1667" b="1" dirty="0" err="1"/>
              <a:t>bmi</a:t>
            </a:r>
            <a:r>
              <a:rPr lang="en-US" sz="1667" b="1" dirty="0"/>
              <a:t>, smoker and regions </a:t>
            </a:r>
            <a:r>
              <a:rPr lang="en-US" sz="1667" dirty="0"/>
              <a:t>and help the insurance company to take decisions on charging the premium</a:t>
            </a:r>
            <a:r>
              <a:rPr lang="en-US" sz="1667" b="1" dirty="0"/>
              <a:t>.</a:t>
            </a:r>
          </a:p>
          <a:p>
            <a:pPr marL="285739" indent="-285739">
              <a:buFont typeface="Arial" panose="020B0604020202020204" pitchFamily="34" charset="0"/>
              <a:buChar char="•"/>
            </a:pPr>
            <a:endParaRPr lang="en-US" sz="1667" b="1" dirty="0"/>
          </a:p>
        </p:txBody>
      </p:sp>
    </p:spTree>
    <p:extLst>
      <p:ext uri="{BB962C8B-B14F-4D97-AF65-F5344CB8AC3E}">
        <p14:creationId xmlns:p14="http://schemas.microsoft.com/office/powerpoint/2010/main" val="32459640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title"/>
          </p:nvPr>
        </p:nvSpPr>
        <p:spPr>
          <a:xfrm>
            <a:off x="371277" y="521208"/>
            <a:ext cx="10969943" cy="913892"/>
          </a:xfrm>
        </p:spPr>
        <p:txBody>
          <a:bodyPr>
            <a:noAutofit/>
          </a:bodyPr>
          <a:lstStyle/>
          <a:p>
            <a:r>
              <a:rPr lang="en-US" dirty="0"/>
              <a:t>Linear Regression</a:t>
            </a:r>
            <a:endParaRPr lang="en-US" dirty="0">
              <a:latin typeface="+mj-lt"/>
            </a:endParaRPr>
          </a:p>
        </p:txBody>
      </p:sp>
      <p:sp>
        <p:nvSpPr>
          <p:cNvPr id="4" name="Flowchart: Alternate Process 3"/>
          <p:cNvSpPr/>
          <p:nvPr/>
        </p:nvSpPr>
        <p:spPr>
          <a:xfrm>
            <a:off x="641664" y="3011129"/>
            <a:ext cx="2369466" cy="900471"/>
          </a:xfrm>
          <a:prstGeom prst="flowChartAlternateProcess">
            <a:avLst/>
          </a:prstGeom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67" dirty="0"/>
              <a:t>Supervised Learning</a:t>
            </a:r>
          </a:p>
        </p:txBody>
      </p:sp>
      <p:cxnSp>
        <p:nvCxnSpPr>
          <p:cNvPr id="5" name="Straight Arrow Connector 4"/>
          <p:cNvCxnSpPr/>
          <p:nvPr/>
        </p:nvCxnSpPr>
        <p:spPr>
          <a:xfrm flipV="1">
            <a:off x="3011131" y="2815224"/>
            <a:ext cx="1351934" cy="624245"/>
          </a:xfrm>
          <a:prstGeom prst="straightConnector1">
            <a:avLst/>
          </a:prstGeom>
          <a:ln w="63500" cap="sq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6" name="Flowchart: Alternate Process 5"/>
          <p:cNvSpPr/>
          <p:nvPr/>
        </p:nvSpPr>
        <p:spPr>
          <a:xfrm>
            <a:off x="4363065" y="2534562"/>
            <a:ext cx="2199968" cy="490693"/>
          </a:xfrm>
          <a:prstGeom prst="flowChartAlternateProcess">
            <a:avLst/>
          </a:prstGeom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67" dirty="0"/>
              <a:t>Regression</a:t>
            </a:r>
          </a:p>
        </p:txBody>
      </p:sp>
      <p:sp>
        <p:nvSpPr>
          <p:cNvPr id="7" name="Flowchart: Alternate Process 6"/>
          <p:cNvSpPr/>
          <p:nvPr/>
        </p:nvSpPr>
        <p:spPr>
          <a:xfrm>
            <a:off x="4363065" y="3676802"/>
            <a:ext cx="2176632" cy="490693"/>
          </a:xfrm>
          <a:prstGeom prst="flowChartAlternateProcess">
            <a:avLst/>
          </a:prstGeom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67" dirty="0"/>
              <a:t>Classification</a:t>
            </a:r>
          </a:p>
        </p:txBody>
      </p:sp>
      <p:cxnSp>
        <p:nvCxnSpPr>
          <p:cNvPr id="8" name="Straight Arrow Connector 7"/>
          <p:cNvCxnSpPr/>
          <p:nvPr/>
        </p:nvCxnSpPr>
        <p:spPr>
          <a:xfrm>
            <a:off x="3011129" y="3492626"/>
            <a:ext cx="1351935" cy="487264"/>
          </a:xfrm>
          <a:prstGeom prst="straightConnector1">
            <a:avLst/>
          </a:prstGeom>
          <a:ln w="63500" cap="sq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11" name="Flowchart: Alternate Process 10"/>
          <p:cNvSpPr/>
          <p:nvPr/>
        </p:nvSpPr>
        <p:spPr>
          <a:xfrm>
            <a:off x="7406793" y="2520436"/>
            <a:ext cx="2778236" cy="490693"/>
          </a:xfrm>
          <a:prstGeom prst="flowChartAlternateProcess">
            <a:avLst/>
          </a:prstGeom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67" dirty="0"/>
              <a:t>Linear Regression</a:t>
            </a:r>
          </a:p>
        </p:txBody>
      </p:sp>
      <p:cxnSp>
        <p:nvCxnSpPr>
          <p:cNvPr id="13" name="Straight Arrow Connector 12"/>
          <p:cNvCxnSpPr/>
          <p:nvPr/>
        </p:nvCxnSpPr>
        <p:spPr>
          <a:xfrm>
            <a:off x="6539697" y="2802506"/>
            <a:ext cx="867096" cy="0"/>
          </a:xfrm>
          <a:prstGeom prst="straightConnector1">
            <a:avLst/>
          </a:prstGeom>
          <a:ln w="63500" cap="sq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19" name="TextBox 18"/>
          <p:cNvSpPr txBox="1"/>
          <p:nvPr/>
        </p:nvSpPr>
        <p:spPr>
          <a:xfrm>
            <a:off x="8153115" y="3230526"/>
            <a:ext cx="3301466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US" sz="1500" dirty="0"/>
          </a:p>
        </p:txBody>
      </p:sp>
      <p:sp>
        <p:nvSpPr>
          <p:cNvPr id="20" name="TextBox 19"/>
          <p:cNvSpPr txBox="1"/>
          <p:nvPr/>
        </p:nvSpPr>
        <p:spPr>
          <a:xfrm>
            <a:off x="7570839" y="3165649"/>
            <a:ext cx="4156581" cy="323165"/>
          </a:xfrm>
          <a:prstGeom prst="rect">
            <a:avLst/>
          </a:prstGeom>
          <a:noFill/>
          <a:ln w="15875"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r>
              <a:rPr lang="en-US" sz="1500" dirty="0">
                <a:solidFill>
                  <a:schemeClr val="bg1">
                    <a:lumMod val="50000"/>
                  </a:schemeClr>
                </a:solidFill>
              </a:rPr>
              <a:t>Predicting Numerical Values (Price/ Height)</a:t>
            </a:r>
          </a:p>
        </p:txBody>
      </p:sp>
    </p:spTree>
    <p:extLst>
      <p:ext uri="{BB962C8B-B14F-4D97-AF65-F5344CB8AC3E}">
        <p14:creationId xmlns:p14="http://schemas.microsoft.com/office/powerpoint/2010/main" val="2879852015"/>
      </p:ext>
    </p:extLst>
  </p:cSld>
  <p:clrMapOvr>
    <a:masterClrMapping/>
  </p:clrMapOvr>
  <p:transition spd="med">
    <p:wipe dir="r"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title"/>
          </p:nvPr>
        </p:nvSpPr>
        <p:spPr>
          <a:xfrm>
            <a:off x="371277" y="521208"/>
            <a:ext cx="10969943" cy="913892"/>
          </a:xfrm>
        </p:spPr>
        <p:txBody>
          <a:bodyPr>
            <a:noAutofit/>
          </a:bodyPr>
          <a:lstStyle/>
          <a:p>
            <a:r>
              <a:rPr lang="en-US" dirty="0"/>
              <a:t>Supervised Learning : Linear Regression</a:t>
            </a:r>
            <a:endParaRPr lang="en-US" dirty="0">
              <a:latin typeface="+mj-lt"/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371277" y="1417825"/>
            <a:ext cx="11245851" cy="10887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sz="1500" b="1" dirty="0"/>
              <a:t>What is Linear Regression?:</a:t>
            </a:r>
          </a:p>
          <a:p>
            <a:pPr marL="380985" indent="-380985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500" dirty="0"/>
              <a:t>Linear Regression is the prediction of numeric value based on an input (often takes a continuous values).</a:t>
            </a:r>
          </a:p>
          <a:p>
            <a:pPr marL="380985" indent="-380985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500" dirty="0"/>
              <a:t>Here we try to fit a mathematical function that describes a curve, such that the curve passes as close as possible to all data points</a:t>
            </a: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372225" y="4378462"/>
            <a:ext cx="3552826" cy="1780267"/>
          </a:xfrm>
          <a:prstGeom prst="rect">
            <a:avLst/>
          </a:prstGeom>
        </p:spPr>
      </p:pic>
      <p:sp>
        <p:nvSpPr>
          <p:cNvPr id="7" name="TextBox 6"/>
          <p:cNvSpPr txBox="1"/>
          <p:nvPr/>
        </p:nvSpPr>
        <p:spPr>
          <a:xfrm>
            <a:off x="275489" y="4599472"/>
            <a:ext cx="5582386" cy="173387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80985" indent="-380985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500" b="1" dirty="0"/>
              <a:t>Dependent variable</a:t>
            </a:r>
            <a:r>
              <a:rPr lang="en-US" sz="1500" dirty="0"/>
              <a:t> is the variable to be predicted or explained</a:t>
            </a:r>
          </a:p>
          <a:p>
            <a:pPr marL="380985" indent="-380985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500" b="1" dirty="0"/>
              <a:t>Independent Variable</a:t>
            </a:r>
            <a:r>
              <a:rPr lang="en-US" sz="1500" dirty="0"/>
              <a:t> is related to dependent variable in the equation.   </a:t>
            </a:r>
          </a:p>
          <a:p>
            <a:endParaRPr lang="en-US" sz="1667" dirty="0"/>
          </a:p>
        </p:txBody>
      </p:sp>
      <p:sp>
        <p:nvSpPr>
          <p:cNvPr id="8" name="TextBox 7"/>
          <p:cNvSpPr txBox="1"/>
          <p:nvPr/>
        </p:nvSpPr>
        <p:spPr>
          <a:xfrm>
            <a:off x="530223" y="3064011"/>
            <a:ext cx="10810996" cy="14647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sz="1500" b="1" dirty="0"/>
              <a:t>Linear Regression Equation:</a:t>
            </a:r>
          </a:p>
          <a:p>
            <a:r>
              <a:rPr lang="en-US" sz="1667" dirty="0"/>
              <a:t>The general form of a Linear regression equation is as below :</a:t>
            </a:r>
          </a:p>
          <a:p>
            <a:r>
              <a:rPr lang="en-US" sz="1667" dirty="0"/>
              <a:t>                                       y = </a:t>
            </a:r>
            <a:r>
              <a:rPr lang="en-US" sz="1667" dirty="0">
                <a:latin typeface="aaArial (Body)"/>
              </a:rPr>
              <a:t>ax +b  + E</a:t>
            </a:r>
          </a:p>
          <a:p>
            <a:r>
              <a:rPr lang="en-US" sz="1667" dirty="0">
                <a:latin typeface="aaArial (Body)"/>
              </a:rPr>
              <a:t> where y is dependent variable , x is independent variable, b is y intercept , a is slope of the line and E is error variable  </a:t>
            </a:r>
            <a:endParaRPr lang="en-US" sz="1667" dirty="0"/>
          </a:p>
          <a:p>
            <a:endParaRPr lang="en-US" sz="1667" dirty="0"/>
          </a:p>
        </p:txBody>
      </p:sp>
    </p:spTree>
    <p:extLst>
      <p:ext uri="{BB962C8B-B14F-4D97-AF65-F5344CB8AC3E}">
        <p14:creationId xmlns:p14="http://schemas.microsoft.com/office/powerpoint/2010/main" val="3286908663"/>
      </p:ext>
    </p:extLst>
  </p:cSld>
  <p:clrMapOvr>
    <a:masterClrMapping/>
  </p:clrMapOvr>
  <p:transition spd="med">
    <p:wipe dir="r"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title"/>
          </p:nvPr>
        </p:nvSpPr>
        <p:spPr>
          <a:xfrm>
            <a:off x="376642" y="-404140"/>
            <a:ext cx="10969943" cy="913892"/>
          </a:xfrm>
        </p:spPr>
        <p:txBody>
          <a:bodyPr>
            <a:noAutofit/>
          </a:bodyPr>
          <a:lstStyle/>
          <a:p>
            <a:r>
              <a:rPr lang="en-US" dirty="0"/>
              <a:t>Regression Applications </a:t>
            </a:r>
            <a:endParaRPr lang="en-US" dirty="0">
              <a:latin typeface="+mj-lt"/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903334" y="1076787"/>
            <a:ext cx="7331183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/>
              <a:t>Predicting life expectancy based on features like Eating pattern, Medication, disease state etc.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2280759" y="2226952"/>
            <a:ext cx="9345568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/>
              <a:t>Predicting weight base on features like sex, height , prior information about parents etc.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656385" y="3392750"/>
            <a:ext cx="8819454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/>
              <a:t>Predicting crop yield based on features like soil precipitation, Rain Fall, Fertilizer , Temperature etc.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2280759" y="4632317"/>
            <a:ext cx="9373377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/>
              <a:t>Predicting house price hike based on features like House Size, Floor Size, Number of rooms etc.</a:t>
            </a: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3">
            <a:duotone>
              <a:prstClr val="black"/>
              <a:schemeClr val="tx2">
                <a:tint val="45000"/>
                <a:satMod val="400000"/>
              </a:schemeClr>
            </a:duotone>
          </a:blip>
          <a:stretch>
            <a:fillRect/>
          </a:stretch>
        </p:blipFill>
        <p:spPr>
          <a:xfrm>
            <a:off x="8879599" y="779368"/>
            <a:ext cx="1184223" cy="1363972"/>
          </a:xfrm>
          <a:prstGeom prst="rect">
            <a:avLst/>
          </a:prstGeom>
        </p:spPr>
      </p:pic>
      <p:sp>
        <p:nvSpPr>
          <p:cNvPr id="11" name="AutoShape 6" descr="Image result for house clipart black and white"/>
          <p:cNvSpPr>
            <a:spLocks noChangeAspect="1" noChangeArrowheads="1"/>
          </p:cNvSpPr>
          <p:nvPr/>
        </p:nvSpPr>
        <p:spPr bwMode="auto">
          <a:xfrm>
            <a:off x="129646" y="-120386"/>
            <a:ext cx="254000" cy="2540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76200" tIns="38100" rIns="76200" bIns="38100" numCol="1" anchor="t" anchorCtr="0" compatLnSpc="1">
            <a:prstTxWarp prst="textNoShape">
              <a:avLst/>
            </a:prstTxWarp>
          </a:bodyPr>
          <a:lstStyle/>
          <a:p>
            <a:endParaRPr lang="en-US" sz="1500"/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>
          <a:blip r:embed="rId4">
            <a:grayscl/>
          </a:blip>
          <a:stretch>
            <a:fillRect/>
          </a:stretch>
        </p:blipFill>
        <p:spPr>
          <a:xfrm>
            <a:off x="656384" y="4632337"/>
            <a:ext cx="1401553" cy="959759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/>
        </p:nvPicPr>
        <p:blipFill>
          <a:blip r:embed="rId5">
            <a:duotone>
              <a:prstClr val="black"/>
              <a:schemeClr val="tx2">
                <a:tint val="45000"/>
                <a:satMod val="400000"/>
              </a:schemeClr>
            </a:duotone>
          </a:blip>
          <a:stretch>
            <a:fillRect/>
          </a:stretch>
        </p:blipFill>
        <p:spPr>
          <a:xfrm>
            <a:off x="8879599" y="3203879"/>
            <a:ext cx="1184223" cy="972310"/>
          </a:xfrm>
          <a:prstGeom prst="rect">
            <a:avLst/>
          </a:prstGeom>
        </p:spPr>
      </p:pic>
      <p:pic>
        <p:nvPicPr>
          <p:cNvPr id="14" name="Picture 13"/>
          <p:cNvPicPr>
            <a:picLocks noChangeAspect="1"/>
          </p:cNvPicPr>
          <p:nvPr/>
        </p:nvPicPr>
        <p:blipFill>
          <a:blip r:embed="rId6">
            <a:duotone>
              <a:prstClr val="black"/>
              <a:schemeClr val="tx2">
                <a:tint val="45000"/>
                <a:satMod val="400000"/>
              </a:schemeClr>
            </a:duotone>
          </a:blip>
          <a:stretch>
            <a:fillRect/>
          </a:stretch>
        </p:blipFill>
        <p:spPr>
          <a:xfrm>
            <a:off x="903330" y="2054289"/>
            <a:ext cx="1259767" cy="11934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74273925"/>
      </p:ext>
    </p:extLst>
  </p:cSld>
  <p:clrMapOvr>
    <a:masterClrMapping/>
  </p:clrMapOvr>
  <p:transition spd="med">
    <p:wipe dir="r"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8E019540-1104-4B12-9F83-45F58674186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3C474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Title 1"/>
          <p:cNvSpPr>
            <a:spLocks noGrp="1"/>
          </p:cNvSpPr>
          <p:nvPr>
            <p:ph type="ctrTitle"/>
          </p:nvPr>
        </p:nvSpPr>
        <p:spPr>
          <a:xfrm>
            <a:off x="4857404" y="1577340"/>
            <a:ext cx="6228950" cy="3703320"/>
          </a:xfrm>
        </p:spPr>
        <p:txBody>
          <a:bodyPr anchor="ctr">
            <a:normAutofit/>
          </a:bodyPr>
          <a:lstStyle/>
          <a:p>
            <a:pPr>
              <a:lnSpc>
                <a:spcPct val="90000"/>
              </a:lnSpc>
            </a:pPr>
            <a:r>
              <a:rPr lang="en-US">
                <a:solidFill>
                  <a:srgbClr val="FFFFFF">
                    <a:alpha val="90000"/>
                  </a:srgbClr>
                </a:solidFill>
              </a:rPr>
              <a:t>Sample Use Cases for Linear Regression Model</a:t>
            </a:r>
            <a:br>
              <a:rPr lang="en-US">
                <a:solidFill>
                  <a:srgbClr val="FFFFFF">
                    <a:alpha val="90000"/>
                  </a:srgbClr>
                </a:solidFill>
              </a:rPr>
            </a:br>
            <a:br>
              <a:rPr lang="en-US">
                <a:solidFill>
                  <a:srgbClr val="FFFFFF">
                    <a:alpha val="90000"/>
                  </a:srgbClr>
                </a:solidFill>
              </a:rPr>
            </a:br>
            <a:r>
              <a:rPr lang="en-US">
                <a:solidFill>
                  <a:srgbClr val="FFFFFF">
                    <a:alpha val="90000"/>
                  </a:srgbClr>
                </a:solidFill>
              </a:rPr>
              <a:t>Predicting the future medical expenses of individuals for  Insurance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11D976D6-8C98-48CC-8C34-0468F31678C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6200000">
            <a:off x="313938" y="3383280"/>
            <a:ext cx="2286000" cy="9144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580CFD6-E44A-486A-9E73-D8D948F78A3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6200000">
            <a:off x="2788596" y="3383280"/>
            <a:ext cx="3703320" cy="91440"/>
          </a:xfrm>
          <a:prstGeom prst="rect">
            <a:avLst/>
          </a:prstGeom>
          <a:solidFill>
            <a:srgbClr val="969FA7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</p:spTree>
    <p:extLst>
      <p:ext uri="{BB962C8B-B14F-4D97-AF65-F5344CB8AC3E}">
        <p14:creationId xmlns:p14="http://schemas.microsoft.com/office/powerpoint/2010/main" val="297694949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324" y="1324"/>
          <a:ext cx="1323" cy="132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324" y="1324"/>
                        <a:ext cx="1323" cy="132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genda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272989"/>
            <a:ext cx="11049000" cy="4984376"/>
          </a:xfrm>
        </p:spPr>
        <p:txBody>
          <a:bodyPr/>
          <a:lstStyle/>
          <a:p>
            <a:r>
              <a:rPr lang="en-US" dirty="0"/>
              <a:t>Challenge / Problem Statement (Sample)</a:t>
            </a:r>
          </a:p>
          <a:p>
            <a:r>
              <a:rPr lang="en-US" dirty="0"/>
              <a:t>Pre-Modelling Analysis</a:t>
            </a:r>
          </a:p>
          <a:p>
            <a:pPr lvl="1"/>
            <a:r>
              <a:rPr lang="en-US" dirty="0"/>
              <a:t>Univariate Analysis</a:t>
            </a:r>
          </a:p>
          <a:p>
            <a:pPr lvl="1"/>
            <a:r>
              <a:rPr lang="en-US" dirty="0"/>
              <a:t>Bivariate Analysis</a:t>
            </a:r>
          </a:p>
          <a:p>
            <a:pPr lvl="1"/>
            <a:r>
              <a:rPr lang="en-US" dirty="0"/>
              <a:t>Correlation Analysis</a:t>
            </a:r>
          </a:p>
          <a:p>
            <a:r>
              <a:rPr lang="en-US" dirty="0"/>
              <a:t>Regression Modelling</a:t>
            </a:r>
          </a:p>
          <a:p>
            <a:pPr lvl="1"/>
            <a:r>
              <a:rPr lang="en-US" dirty="0"/>
              <a:t>Simple Linear model</a:t>
            </a:r>
          </a:p>
          <a:p>
            <a:pPr lvl="1"/>
            <a:r>
              <a:rPr lang="en-US" dirty="0"/>
              <a:t>Anova</a:t>
            </a:r>
          </a:p>
          <a:p>
            <a:pPr lvl="1"/>
            <a:r>
              <a:rPr lang="en-US" dirty="0"/>
              <a:t>Residual Analysis</a:t>
            </a:r>
          </a:p>
          <a:p>
            <a:pPr lvl="1"/>
            <a:r>
              <a:rPr lang="en-US" dirty="0"/>
              <a:t>Diagnostics plot</a:t>
            </a:r>
          </a:p>
          <a:p>
            <a:r>
              <a:rPr lang="en-US" dirty="0"/>
              <a:t>Analytics Insights / Results (Sample)</a:t>
            </a:r>
          </a:p>
          <a:p>
            <a:r>
              <a:rPr lang="en-GB" dirty="0"/>
              <a:t>Q&amp;A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512211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1277" y="521208"/>
            <a:ext cx="10969943" cy="411480"/>
          </a:xfrm>
        </p:spPr>
        <p:txBody>
          <a:bodyPr>
            <a:normAutofit fontScale="90000"/>
          </a:bodyPr>
          <a:lstStyle/>
          <a:p>
            <a:r>
              <a:rPr lang="en-US" dirty="0"/>
              <a:t>Challenge / Problem Statement (Sample)</a:t>
            </a:r>
          </a:p>
        </p:txBody>
      </p:sp>
      <p:sp>
        <p:nvSpPr>
          <p:cNvPr id="18" name="Rectangle 17"/>
          <p:cNvSpPr/>
          <p:nvPr/>
        </p:nvSpPr>
        <p:spPr>
          <a:xfrm>
            <a:off x="1524000" y="1953986"/>
            <a:ext cx="8839200" cy="1631601"/>
          </a:xfrm>
          <a:prstGeom prst="rect">
            <a:avLst/>
          </a:prstGeom>
          <a:ln w="28575">
            <a:solidFill>
              <a:schemeClr val="tx1"/>
            </a:solidFill>
          </a:ln>
        </p:spPr>
        <p:txBody>
          <a:bodyPr wrap="square">
            <a:spAutoFit/>
          </a:bodyPr>
          <a:lstStyle/>
          <a:p>
            <a:pPr marL="285739" indent="-285739">
              <a:buFont typeface="Arial" panose="020B0604020202020204" pitchFamily="34" charset="0"/>
              <a:buChar char="•"/>
            </a:pPr>
            <a:r>
              <a:rPr lang="en-US" sz="1667" dirty="0"/>
              <a:t>The Insurance dataset consists of 1338 observations with 7 variables. </a:t>
            </a:r>
          </a:p>
          <a:p>
            <a:pPr marL="285739" indent="-285739">
              <a:buFont typeface="Arial" panose="020B0604020202020204" pitchFamily="34" charset="0"/>
              <a:buChar char="•"/>
            </a:pPr>
            <a:endParaRPr lang="en-US" sz="1667" dirty="0"/>
          </a:p>
          <a:p>
            <a:pPr marL="285739" indent="-285739">
              <a:buFont typeface="Arial" panose="020B0604020202020204" pitchFamily="34" charset="0"/>
              <a:buChar char="•"/>
            </a:pPr>
            <a:r>
              <a:rPr lang="en-US" sz="1667" dirty="0"/>
              <a:t>The challenge is to predict future medical expenses of individuals that help medical insurance to make decision on charging the premium.</a:t>
            </a:r>
          </a:p>
          <a:p>
            <a:pPr marL="285739" indent="-285739">
              <a:buFont typeface="Arial" panose="020B0604020202020204" pitchFamily="34" charset="0"/>
              <a:buChar char="•"/>
            </a:pPr>
            <a:endParaRPr lang="en-US" sz="1667" b="1" dirty="0"/>
          </a:p>
          <a:p>
            <a:pPr marL="285739" indent="-285739">
              <a:buFont typeface="Arial" panose="020B0604020202020204" pitchFamily="34" charset="0"/>
              <a:buChar char="•"/>
            </a:pPr>
            <a:endParaRPr lang="en-US" sz="1667" b="1" dirty="0"/>
          </a:p>
        </p:txBody>
      </p:sp>
    </p:spTree>
    <p:extLst>
      <p:ext uri="{BB962C8B-B14F-4D97-AF65-F5344CB8AC3E}">
        <p14:creationId xmlns:p14="http://schemas.microsoft.com/office/powerpoint/2010/main" val="26062928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1277" y="521208"/>
            <a:ext cx="10969943" cy="411480"/>
          </a:xfrm>
        </p:spPr>
        <p:txBody>
          <a:bodyPr>
            <a:normAutofit fontScale="90000"/>
          </a:bodyPr>
          <a:lstStyle/>
          <a:p>
            <a:r>
              <a:rPr lang="en-US" dirty="0"/>
              <a:t>Pre Modelling – Insurance dataset - Data description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8726142" y="2883339"/>
            <a:ext cx="3250557" cy="666273"/>
          </a:xfrm>
        </p:spPr>
        <p:txBody>
          <a:bodyPr/>
          <a:lstStyle/>
          <a:p>
            <a:r>
              <a:rPr lang="en-US" dirty="0"/>
              <a:t>Correlation Analysis</a:t>
            </a:r>
          </a:p>
          <a:p>
            <a:r>
              <a:rPr lang="en-US" sz="1333" dirty="0"/>
              <a:t>a statistical measure that indicates which two or more variables fluctuate together. </a:t>
            </a:r>
            <a:endParaRPr lang="en-GB" sz="1333" dirty="0"/>
          </a:p>
        </p:txBody>
      </p:sp>
      <p:sp>
        <p:nvSpPr>
          <p:cNvPr id="18" name="Rectangle 17"/>
          <p:cNvSpPr/>
          <p:nvPr/>
        </p:nvSpPr>
        <p:spPr>
          <a:xfrm>
            <a:off x="365022" y="932689"/>
            <a:ext cx="11706423" cy="1888146"/>
          </a:xfrm>
          <a:prstGeom prst="rect">
            <a:avLst/>
          </a:prstGeom>
          <a:ln w="28575">
            <a:solidFill>
              <a:schemeClr val="tx1"/>
            </a:solidFill>
          </a:ln>
        </p:spPr>
        <p:txBody>
          <a:bodyPr wrap="square">
            <a:spAutoFit/>
          </a:bodyPr>
          <a:lstStyle/>
          <a:p>
            <a:r>
              <a:rPr lang="en-US" sz="1667" dirty="0"/>
              <a:t>The insurance dataset contains 1338 observations (rows) and 7 features (columns). </a:t>
            </a:r>
          </a:p>
          <a:p>
            <a:endParaRPr lang="en-US" sz="1667" dirty="0"/>
          </a:p>
          <a:p>
            <a:r>
              <a:rPr lang="en-US" sz="1667" dirty="0"/>
              <a:t>The dataset contains 4 numerical features (age, </a:t>
            </a:r>
            <a:r>
              <a:rPr lang="en-US" sz="1667" dirty="0" err="1"/>
              <a:t>bmi</a:t>
            </a:r>
            <a:r>
              <a:rPr lang="en-US" sz="1667" dirty="0"/>
              <a:t>, children and expenses) and 3 nominal features (sex, smoker and region) that were converted into factors with numerical value designated for each level.</a:t>
            </a:r>
          </a:p>
          <a:p>
            <a:endParaRPr lang="en-US" sz="1667" dirty="0"/>
          </a:p>
          <a:p>
            <a:r>
              <a:rPr lang="en-US" sz="1667" dirty="0"/>
              <a:t>The challenge is to predict future medical expenses of individuals that help medical insurance to make decision on charging the premium.</a:t>
            </a:r>
          </a:p>
        </p:txBody>
      </p:sp>
      <p:sp>
        <p:nvSpPr>
          <p:cNvPr id="53" name="Text Placeholder 2"/>
          <p:cNvSpPr txBox="1">
            <a:spLocks/>
          </p:cNvSpPr>
          <p:nvPr/>
        </p:nvSpPr>
        <p:spPr>
          <a:xfrm>
            <a:off x="481263" y="2918794"/>
            <a:ext cx="3657600" cy="65206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1463040" rtl="0" eaLnBrk="1" latinLnBrk="0" hangingPunct="1">
              <a:spcBef>
                <a:spcPts val="0"/>
              </a:spcBef>
              <a:buFontTx/>
              <a:buNone/>
              <a:defRPr sz="2160" b="1" kern="1200" baseline="0">
                <a:solidFill>
                  <a:schemeClr val="tx1"/>
                </a:solidFill>
                <a:latin typeface="MetricHPE" panose="020B0503030202060203" pitchFamily="34" charset="0"/>
                <a:ea typeface="+mn-ea"/>
                <a:cs typeface="+mn-cs"/>
              </a:defRPr>
            </a:lvl1pPr>
            <a:lvl2pPr marL="0" indent="0" algn="l" defTabSz="1463040" rtl="0" eaLnBrk="1" latinLnBrk="0" hangingPunct="1">
              <a:spcBef>
                <a:spcPts val="0"/>
              </a:spcBef>
              <a:buFontTx/>
              <a:buNone/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1463040" rtl="0" eaLnBrk="1" latinLnBrk="0" hangingPunct="1">
              <a:spcBef>
                <a:spcPts val="0"/>
              </a:spcBef>
              <a:buFont typeface="Arial" pitchFamily="34" charset="0"/>
              <a:buNone/>
              <a:tabLst/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1463040" rtl="0" eaLnBrk="1" latinLnBrk="0" hangingPunct="1">
              <a:spcBef>
                <a:spcPts val="0"/>
              </a:spcBef>
              <a:buFont typeface="Arial" pitchFamily="34" charset="0"/>
              <a:buNone/>
              <a:tabLst/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1463040" rtl="0" eaLnBrk="1" latinLnBrk="0" hangingPunct="1">
              <a:spcBef>
                <a:spcPts val="0"/>
              </a:spcBef>
              <a:buFont typeface="Arial" pitchFamily="34" charset="0"/>
              <a:buNone/>
              <a:tabLst/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1463040" rtl="0" eaLnBrk="1" latinLnBrk="0" hangingPunct="1">
              <a:spcBef>
                <a:spcPts val="0"/>
              </a:spcBef>
              <a:buFont typeface="Arial" pitchFamily="34" charset="0"/>
              <a:buNone/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1463040" rtl="0" eaLnBrk="1" latinLnBrk="0" hangingPunct="1">
              <a:spcBef>
                <a:spcPts val="0"/>
              </a:spcBef>
              <a:buFont typeface="Arial" pitchFamily="34" charset="0"/>
              <a:buNone/>
              <a:tabLst/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1463040" rtl="0" eaLnBrk="1" latinLnBrk="0" hangingPunct="1">
              <a:spcBef>
                <a:spcPts val="0"/>
              </a:spcBef>
              <a:buFont typeface="Arial" pitchFamily="34" charset="0"/>
              <a:buNone/>
              <a:defRPr sz="216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1463040" rtl="0" eaLnBrk="1" latinLnBrk="0" hangingPunct="1">
              <a:spcBef>
                <a:spcPts val="0"/>
              </a:spcBef>
              <a:buFont typeface="Arial" pitchFamily="34" charset="0"/>
              <a:buNone/>
              <a:tabLst/>
              <a:defRPr sz="216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800" dirty="0"/>
              <a:t>Univariate Analysis - </a:t>
            </a:r>
          </a:p>
          <a:p>
            <a:r>
              <a:rPr lang="en-US" sz="1333" b="0" dirty="0"/>
              <a:t>Study of relationship for each single variables</a:t>
            </a:r>
            <a:endParaRPr lang="en-GB" sz="1333" b="0" dirty="0"/>
          </a:p>
        </p:txBody>
      </p:sp>
      <p:sp>
        <p:nvSpPr>
          <p:cNvPr id="55" name="Text Placeholder 2"/>
          <p:cNvSpPr txBox="1">
            <a:spLocks/>
          </p:cNvSpPr>
          <p:nvPr/>
        </p:nvSpPr>
        <p:spPr>
          <a:xfrm>
            <a:off x="3949196" y="2883339"/>
            <a:ext cx="4455323" cy="101901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1463040" rtl="0" eaLnBrk="1" latinLnBrk="0" hangingPunct="1">
              <a:spcBef>
                <a:spcPts val="0"/>
              </a:spcBef>
              <a:buFontTx/>
              <a:buNone/>
              <a:defRPr sz="2160" b="1" kern="1200" baseline="0">
                <a:solidFill>
                  <a:schemeClr val="tx1"/>
                </a:solidFill>
                <a:latin typeface="MetricHPE" panose="020B0503030202060203" pitchFamily="34" charset="0"/>
                <a:ea typeface="+mn-ea"/>
                <a:cs typeface="+mn-cs"/>
              </a:defRPr>
            </a:lvl1pPr>
            <a:lvl2pPr marL="0" indent="0" algn="l" defTabSz="1463040" rtl="0" eaLnBrk="1" latinLnBrk="0" hangingPunct="1">
              <a:spcBef>
                <a:spcPts val="0"/>
              </a:spcBef>
              <a:buFontTx/>
              <a:buNone/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1463040" rtl="0" eaLnBrk="1" latinLnBrk="0" hangingPunct="1">
              <a:spcBef>
                <a:spcPts val="0"/>
              </a:spcBef>
              <a:buFont typeface="Arial" pitchFamily="34" charset="0"/>
              <a:buNone/>
              <a:tabLst/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1463040" rtl="0" eaLnBrk="1" latinLnBrk="0" hangingPunct="1">
              <a:spcBef>
                <a:spcPts val="0"/>
              </a:spcBef>
              <a:buFont typeface="Arial" pitchFamily="34" charset="0"/>
              <a:buNone/>
              <a:tabLst/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1463040" rtl="0" eaLnBrk="1" latinLnBrk="0" hangingPunct="1">
              <a:spcBef>
                <a:spcPts val="0"/>
              </a:spcBef>
              <a:buFont typeface="Arial" pitchFamily="34" charset="0"/>
              <a:buNone/>
              <a:tabLst/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1463040" rtl="0" eaLnBrk="1" latinLnBrk="0" hangingPunct="1">
              <a:spcBef>
                <a:spcPts val="0"/>
              </a:spcBef>
              <a:buFont typeface="Arial" pitchFamily="34" charset="0"/>
              <a:buNone/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1463040" rtl="0" eaLnBrk="1" latinLnBrk="0" hangingPunct="1">
              <a:spcBef>
                <a:spcPts val="0"/>
              </a:spcBef>
              <a:buFont typeface="Arial" pitchFamily="34" charset="0"/>
              <a:buNone/>
              <a:tabLst/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1463040" rtl="0" eaLnBrk="1" latinLnBrk="0" hangingPunct="1">
              <a:spcBef>
                <a:spcPts val="0"/>
              </a:spcBef>
              <a:buFont typeface="Arial" pitchFamily="34" charset="0"/>
              <a:buNone/>
              <a:defRPr sz="216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1463040" rtl="0" eaLnBrk="1" latinLnBrk="0" hangingPunct="1">
              <a:spcBef>
                <a:spcPts val="0"/>
              </a:spcBef>
              <a:buFont typeface="Arial" pitchFamily="34" charset="0"/>
              <a:buNone/>
              <a:tabLst/>
              <a:defRPr sz="216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800" dirty="0"/>
              <a:t>Bivariate Analysis - </a:t>
            </a:r>
          </a:p>
          <a:p>
            <a:r>
              <a:rPr lang="en-US" sz="1333" b="0" dirty="0"/>
              <a:t>Study Relationship between 2 Variables and establish if the Relationship is Statistically Significant</a:t>
            </a:r>
            <a:endParaRPr lang="en-GB" sz="1333" b="0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05204" y="3658644"/>
            <a:ext cx="2400300" cy="2628900"/>
          </a:xfrm>
          <a:prstGeom prst="rect">
            <a:avLst/>
          </a:prstGeom>
          <a:ln w="28575">
            <a:solidFill>
              <a:schemeClr val="tx1"/>
            </a:solidFill>
          </a:ln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968314" y="3657600"/>
            <a:ext cx="2359823" cy="2628900"/>
          </a:xfrm>
          <a:prstGeom prst="rect">
            <a:avLst/>
          </a:prstGeom>
          <a:ln w="28575">
            <a:solidFill>
              <a:schemeClr val="tx1"/>
            </a:solidFill>
          </a:ln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569263" y="3657600"/>
            <a:ext cx="1866900" cy="2628900"/>
          </a:xfrm>
          <a:prstGeom prst="rect">
            <a:avLst/>
          </a:prstGeom>
          <a:ln w="28575">
            <a:solidFill>
              <a:schemeClr val="tx1"/>
            </a:solidFill>
          </a:ln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726142" y="3658645"/>
            <a:ext cx="2803347" cy="2629944"/>
          </a:xfrm>
          <a:prstGeom prst="rect">
            <a:avLst/>
          </a:prstGeom>
          <a:ln w="28575">
            <a:solidFill>
              <a:schemeClr val="tx1"/>
            </a:solidFill>
          </a:ln>
        </p:spPr>
      </p:pic>
    </p:spTree>
    <p:extLst>
      <p:ext uri="{BB962C8B-B14F-4D97-AF65-F5344CB8AC3E}">
        <p14:creationId xmlns:p14="http://schemas.microsoft.com/office/powerpoint/2010/main" val="9880206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1277" y="521208"/>
            <a:ext cx="10969943" cy="411480"/>
          </a:xfrm>
        </p:spPr>
        <p:txBody>
          <a:bodyPr>
            <a:normAutofit fontScale="90000"/>
          </a:bodyPr>
          <a:lstStyle/>
          <a:p>
            <a:r>
              <a:rPr lang="en-US" dirty="0"/>
              <a:t>Linear Regression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503577" y="1141528"/>
            <a:ext cx="2678894" cy="381000"/>
          </a:xfrm>
        </p:spPr>
        <p:txBody>
          <a:bodyPr/>
          <a:lstStyle/>
          <a:p>
            <a:r>
              <a:rPr lang="en-US" dirty="0"/>
              <a:t>Simple Linear Model</a:t>
            </a:r>
            <a:endParaRPr lang="en-GB" dirty="0"/>
          </a:p>
        </p:txBody>
      </p:sp>
      <p:sp>
        <p:nvSpPr>
          <p:cNvPr id="44" name="Text Placeholder 2"/>
          <p:cNvSpPr txBox="1">
            <a:spLocks/>
          </p:cNvSpPr>
          <p:nvPr/>
        </p:nvSpPr>
        <p:spPr>
          <a:xfrm>
            <a:off x="6857073" y="1333851"/>
            <a:ext cx="2865104" cy="381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1463040" rtl="0" eaLnBrk="1" latinLnBrk="0" hangingPunct="1">
              <a:spcBef>
                <a:spcPts val="0"/>
              </a:spcBef>
              <a:buFontTx/>
              <a:buNone/>
              <a:defRPr sz="2160" b="1" kern="1200" baseline="0">
                <a:solidFill>
                  <a:schemeClr val="tx1"/>
                </a:solidFill>
                <a:latin typeface="MetricHPE" panose="020B0503030202060203" pitchFamily="34" charset="0"/>
                <a:ea typeface="+mn-ea"/>
                <a:cs typeface="+mn-cs"/>
              </a:defRPr>
            </a:lvl1pPr>
            <a:lvl2pPr marL="0" indent="0" algn="l" defTabSz="1463040" rtl="0" eaLnBrk="1" latinLnBrk="0" hangingPunct="1">
              <a:spcBef>
                <a:spcPts val="0"/>
              </a:spcBef>
              <a:buFontTx/>
              <a:buNone/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1463040" rtl="0" eaLnBrk="1" latinLnBrk="0" hangingPunct="1">
              <a:spcBef>
                <a:spcPts val="0"/>
              </a:spcBef>
              <a:buFont typeface="Arial" pitchFamily="34" charset="0"/>
              <a:buNone/>
              <a:tabLst/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1463040" rtl="0" eaLnBrk="1" latinLnBrk="0" hangingPunct="1">
              <a:spcBef>
                <a:spcPts val="0"/>
              </a:spcBef>
              <a:buFont typeface="Arial" pitchFamily="34" charset="0"/>
              <a:buNone/>
              <a:tabLst/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1463040" rtl="0" eaLnBrk="1" latinLnBrk="0" hangingPunct="1">
              <a:spcBef>
                <a:spcPts val="0"/>
              </a:spcBef>
              <a:buFont typeface="Arial" pitchFamily="34" charset="0"/>
              <a:buNone/>
              <a:tabLst/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1463040" rtl="0" eaLnBrk="1" latinLnBrk="0" hangingPunct="1">
              <a:spcBef>
                <a:spcPts val="0"/>
              </a:spcBef>
              <a:buFont typeface="Arial" pitchFamily="34" charset="0"/>
              <a:buNone/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1463040" rtl="0" eaLnBrk="1" latinLnBrk="0" hangingPunct="1">
              <a:spcBef>
                <a:spcPts val="0"/>
              </a:spcBef>
              <a:buFont typeface="Arial" pitchFamily="34" charset="0"/>
              <a:buNone/>
              <a:tabLst/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1463040" rtl="0" eaLnBrk="1" latinLnBrk="0" hangingPunct="1">
              <a:spcBef>
                <a:spcPts val="0"/>
              </a:spcBef>
              <a:buFont typeface="Arial" pitchFamily="34" charset="0"/>
              <a:buNone/>
              <a:defRPr sz="216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1463040" rtl="0" eaLnBrk="1" latinLnBrk="0" hangingPunct="1">
              <a:spcBef>
                <a:spcPts val="0"/>
              </a:spcBef>
              <a:buFont typeface="Arial" pitchFamily="34" charset="0"/>
              <a:buNone/>
              <a:tabLst/>
              <a:defRPr sz="216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800" dirty="0"/>
              <a:t>Analysis of Variance</a:t>
            </a:r>
            <a:endParaRPr lang="en-GB" sz="1800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3">
            <a:duotone>
              <a:schemeClr val="accent3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503577" y="1731368"/>
            <a:ext cx="5000625" cy="4174132"/>
          </a:xfrm>
          <a:prstGeom prst="rect">
            <a:avLst/>
          </a:prstGeom>
          <a:ln w="28575">
            <a:solidFill>
              <a:schemeClr val="tx1"/>
            </a:solidFill>
          </a:ln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4">
            <a:duotone>
              <a:schemeClr val="accent5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5975684" y="1735379"/>
            <a:ext cx="5855953" cy="1045921"/>
          </a:xfrm>
          <a:prstGeom prst="rect">
            <a:avLst/>
          </a:prstGeom>
          <a:ln w="28575">
            <a:solidFill>
              <a:schemeClr val="tx1"/>
            </a:solidFill>
          </a:ln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5">
            <a:duotone>
              <a:schemeClr val="accent4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5975684" y="3009900"/>
            <a:ext cx="5855953" cy="2895600"/>
          </a:xfrm>
          <a:prstGeom prst="rect">
            <a:avLst/>
          </a:prstGeom>
          <a:ln w="28575">
            <a:solidFill>
              <a:schemeClr val="tx1"/>
            </a:solidFill>
          </a:ln>
        </p:spPr>
      </p:pic>
    </p:spTree>
    <p:extLst>
      <p:ext uri="{BB962C8B-B14F-4D97-AF65-F5344CB8AC3E}">
        <p14:creationId xmlns:p14="http://schemas.microsoft.com/office/powerpoint/2010/main" val="17950812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DividendVTI">
  <a:themeElements>
    <a:clrScheme name="">
      <a:dk1>
        <a:srgbClr val="000000"/>
      </a:dk1>
      <a:lt1>
        <a:srgbClr val="FFFFFF"/>
      </a:lt1>
      <a:dk2>
        <a:srgbClr val="242E41"/>
      </a:dk2>
      <a:lt2>
        <a:srgbClr val="E2E8E3"/>
      </a:lt2>
      <a:accent1>
        <a:srgbClr val="E729C7"/>
      </a:accent1>
      <a:accent2>
        <a:srgbClr val="A617D5"/>
      </a:accent2>
      <a:accent3>
        <a:srgbClr val="6B2CE7"/>
      </a:accent3>
      <a:accent4>
        <a:srgbClr val="3A47DB"/>
      </a:accent4>
      <a:accent5>
        <a:srgbClr val="2987E7"/>
      </a:accent5>
      <a:accent6>
        <a:srgbClr val="15B4C3"/>
      </a:accent6>
      <a:hlink>
        <a:srgbClr val="4E75C4"/>
      </a:hlink>
      <a:folHlink>
        <a:srgbClr val="7F7F7F"/>
      </a:folHlink>
    </a:clrScheme>
    <a:fontScheme name="Dividend">
      <a:majorFont>
        <a:latin typeface="Franklin Gothic Demi" panose="020B0502020104020203"/>
        <a:ea typeface=""/>
        <a:cs typeface=""/>
        <a:font script="Grek" typeface="Corbel"/>
        <a:font script="Cyrl" typeface="Corbel"/>
        <a:font script="Jpan" typeface="HGｺﾞｼｯｸE"/>
        <a:font script="Hang" typeface="휴먼매직체"/>
        <a:font script="Hans" typeface="华文中宋"/>
        <a:font script="Hant" typeface="微軟正黑體"/>
        <a:font script="Arab" typeface="Majalla UI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Franklin Gothic Book" panose="020B0502020104020203"/>
        <a:ea typeface=""/>
        <a:cs typeface=""/>
        <a:font script="Grek" typeface="Corbel"/>
        <a:font script="Cyrl" typeface="Corbel"/>
        <a:font script="Jpan" typeface="HGｺﾞｼｯｸE"/>
        <a:font script="Hang" typeface="휴먼매직체"/>
        <a:font script="Hans" typeface="华文中宋"/>
        <a:font script="Hant" typeface="微軟正黑體"/>
        <a:font script="Arab" typeface="Majalla UI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Dividend">
      <a:fillStyleLst>
        <a:solidFill>
          <a:schemeClr val="phClr"/>
        </a:solidFill>
        <a:gradFill rotWithShape="1">
          <a:gsLst>
            <a:gs pos="0">
              <a:schemeClr val="phClr">
                <a:tint val="68000"/>
                <a:alpha val="90000"/>
                <a:lumMod val="100000"/>
              </a:schemeClr>
            </a:gs>
            <a:gs pos="100000">
              <a:schemeClr val="phClr">
                <a:tint val="90000"/>
                <a:lumMod val="95000"/>
              </a:schemeClr>
            </a:gs>
          </a:gsLst>
          <a:lin ang="5400000" scaled="1"/>
        </a:gradFill>
        <a:gradFill rotWithShape="1">
          <a:gsLst>
            <a:gs pos="0">
              <a:schemeClr val="phClr">
                <a:tint val="98000"/>
                <a:lumMod val="110000"/>
              </a:schemeClr>
            </a:gs>
            <a:gs pos="84000">
              <a:schemeClr val="phClr">
                <a:shade val="90000"/>
                <a:lumMod val="88000"/>
              </a:schemeClr>
            </a:gs>
          </a:gsLst>
          <a:lin ang="5400000" scaled="0"/>
        </a:gradFill>
      </a:fillStyleLst>
      <a:lnStyleLst>
        <a:ln w="12700" cap="rnd" cmpd="sng" algn="ctr">
          <a:solidFill>
            <a:schemeClr val="phClr">
              <a:lumMod val="90000"/>
            </a:schemeClr>
          </a:solidFill>
          <a:prstDash val="solid"/>
        </a:ln>
        <a:ln w="22225" cap="rnd" cmpd="sng" algn="ctr">
          <a:solidFill>
            <a:schemeClr val="phClr"/>
          </a:solidFill>
          <a:prstDash val="solid"/>
        </a:ln>
        <a:ln w="25400" cap="rnd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5400000" rotWithShape="0">
              <a:srgbClr val="000000">
                <a:alpha val="55000"/>
              </a:srgbClr>
            </a:outerShdw>
          </a:effectLst>
        </a:effectStyle>
        <a:effectStyle>
          <a:effectLst>
            <a:outerShdw blurRad="88900" dist="38100" dir="5040000" rotWithShape="0">
              <a:srgbClr val="00000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l">
              <a:rot lat="0" lon="0" rev="1200000"/>
            </a:lightRig>
          </a:scene3d>
          <a:sp3d>
            <a:bevelT w="38100" h="508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90000"/>
                <a:lumMod val="110000"/>
              </a:schemeClr>
            </a:gs>
            <a:gs pos="88000">
              <a:schemeClr val="phClr">
                <a:shade val="94000"/>
                <a:satMod val="110000"/>
                <a:lumMod val="88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0000"/>
                <a:lumMod val="110000"/>
              </a:schemeClr>
            </a:gs>
            <a:gs pos="100000">
              <a:schemeClr val="phClr">
                <a:shade val="98000"/>
                <a:satMod val="110000"/>
                <a:lumMod val="86000"/>
              </a:schemeClr>
            </a:gs>
          </a:gsLst>
          <a:path path="circle">
            <a:fillToRect l="50000" t="50000" r="100000" b="10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DividendVTI" id="{97558BDE-0B66-457C-BB6F-7B1B22DAA9B8}" vid="{F53508A3-AC60-448A-AF37-934D5F1A0D5E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2</TotalTime>
  <Words>675</Words>
  <Application>Microsoft Office PowerPoint</Application>
  <PresentationFormat>Widescreen</PresentationFormat>
  <Paragraphs>76</Paragraphs>
  <Slides>11</Slides>
  <Notes>8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1</vt:i4>
      </vt:variant>
    </vt:vector>
  </HeadingPairs>
  <TitlesOfParts>
    <vt:vector size="20" baseType="lpstr">
      <vt:lpstr>aaArial (Body)</vt:lpstr>
      <vt:lpstr>Arial</vt:lpstr>
      <vt:lpstr>Calibri</vt:lpstr>
      <vt:lpstr>Franklin Gothic Book</vt:lpstr>
      <vt:lpstr>Franklin Gothic Demi</vt:lpstr>
      <vt:lpstr>MetricHPE</vt:lpstr>
      <vt:lpstr>Wingdings 2</vt:lpstr>
      <vt:lpstr>DividendVTI</vt:lpstr>
      <vt:lpstr>think-cell Slide</vt:lpstr>
      <vt:lpstr>Linear Regression Model  Deep Dive</vt:lpstr>
      <vt:lpstr>Linear Regression</vt:lpstr>
      <vt:lpstr>Supervised Learning : Linear Regression</vt:lpstr>
      <vt:lpstr>Regression Applications </vt:lpstr>
      <vt:lpstr>Sample Use Cases for Linear Regression Model  Predicting the future medical expenses of individuals for  Insurance</vt:lpstr>
      <vt:lpstr>Agenda</vt:lpstr>
      <vt:lpstr>Challenge / Problem Statement (Sample)</vt:lpstr>
      <vt:lpstr>Pre Modelling – Insurance dataset - Data description</vt:lpstr>
      <vt:lpstr>Linear Regression</vt:lpstr>
      <vt:lpstr>Linear Regression</vt:lpstr>
      <vt:lpstr>Analytics Insights / Results (Sample)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Linear Regression Model  Deep Dive</dc:title>
  <dc:creator>Sathyanarayanan Shanmugavelu</dc:creator>
  <cp:lastModifiedBy>Sathyanarayanan Shanmugavelu</cp:lastModifiedBy>
  <cp:revision>1</cp:revision>
  <dcterms:created xsi:type="dcterms:W3CDTF">2019-10-12T04:34:16Z</dcterms:created>
  <dcterms:modified xsi:type="dcterms:W3CDTF">2019-10-12T04:37:03Z</dcterms:modified>
</cp:coreProperties>
</file>